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5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6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47" r:id="rId1"/>
    <p:sldMasterId id="2147484248" r:id="rId2"/>
    <p:sldMasterId id="2147484263" r:id="rId3"/>
    <p:sldMasterId id="2147484267" r:id="rId4"/>
    <p:sldMasterId id="2147484270" r:id="rId5"/>
    <p:sldMasterId id="2147484274" r:id="rId6"/>
    <p:sldMasterId id="2147484278" r:id="rId7"/>
  </p:sldMasterIdLst>
  <p:notesMasterIdLst>
    <p:notesMasterId r:id="rId11"/>
  </p:notesMasterIdLst>
  <p:handoutMasterIdLst>
    <p:handoutMasterId r:id="rId12"/>
  </p:handoutMasterIdLst>
  <p:sldIdLst>
    <p:sldId id="691" r:id="rId8"/>
    <p:sldId id="693" r:id="rId9"/>
    <p:sldId id="694" r:id="rId10"/>
  </p:sldIdLst>
  <p:sldSz cx="6858000" cy="9906000" type="A4"/>
  <p:notesSz cx="6807200" cy="9939338"/>
  <p:custDataLst>
    <p:tags r:id="rId13"/>
  </p:custDataLst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sz="1700" b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700" b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700" b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700" b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700" b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kumimoji="1" sz="1700" b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6pPr>
    <a:lvl7pPr marL="2743200" algn="l" defTabSz="914400" rtl="0" eaLnBrk="1" latinLnBrk="1" hangingPunct="1">
      <a:defRPr kumimoji="1" sz="1700" b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7pPr>
    <a:lvl8pPr marL="3200400" algn="l" defTabSz="914400" rtl="0" eaLnBrk="1" latinLnBrk="1" hangingPunct="1">
      <a:defRPr kumimoji="1" sz="1700" b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8pPr>
    <a:lvl9pPr marL="3657600" algn="l" defTabSz="914400" rtl="0" eaLnBrk="1" latinLnBrk="1" hangingPunct="1">
      <a:defRPr kumimoji="1" sz="1700" b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59">
          <p15:clr>
            <a:srgbClr val="A4A3A4"/>
          </p15:clr>
        </p15:guide>
        <p15:guide id="2" pos="2160">
          <p15:clr>
            <a:srgbClr val="A4A3A4"/>
          </p15:clr>
        </p15:guide>
        <p15:guide id="3" pos="307">
          <p15:clr>
            <a:srgbClr val="A4A3A4"/>
          </p15:clr>
        </p15:guide>
        <p15:guide id="4" pos="40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0">
          <p15:clr>
            <a:srgbClr val="A4A3A4"/>
          </p15:clr>
        </p15:guide>
        <p15:guide id="2" pos="214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00"/>
    <a:srgbClr val="FFFFCC"/>
    <a:srgbClr val="FFFF99"/>
    <a:srgbClr val="0000FF"/>
    <a:srgbClr val="FFFF66"/>
    <a:srgbClr val="FF0000"/>
    <a:srgbClr val="66FFCC"/>
    <a:srgbClr val="00FFFF"/>
    <a:srgbClr val="66CCFF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702" autoAdjust="0"/>
    <p:restoredTop sz="93297" autoAdjust="0"/>
  </p:normalViewPr>
  <p:slideViewPr>
    <p:cSldViewPr>
      <p:cViewPr varScale="1">
        <p:scale>
          <a:sx n="81" d="100"/>
          <a:sy n="81" d="100"/>
        </p:scale>
        <p:origin x="822" y="90"/>
      </p:cViewPr>
      <p:guideLst>
        <p:guide orient="horz" pos="1759"/>
        <p:guide pos="2160"/>
        <p:guide pos="307"/>
        <p:guide pos="40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0" d="100"/>
          <a:sy n="50" d="100"/>
        </p:scale>
        <p:origin x="-3018" y="-108"/>
      </p:cViewPr>
      <p:guideLst>
        <p:guide orient="horz" pos="3130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ags" Target="tags/tag1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 bwMode="auto">
          <a:xfrm>
            <a:off x="2" y="0"/>
            <a:ext cx="2950765" cy="49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71" tIns="45685" rIns="91371" bIns="45685" numCol="1" anchor="t" anchorCtr="0" compatLnSpc="1">
            <a:prstTxWarp prst="textNoShape">
              <a:avLst/>
            </a:prstTxWarp>
          </a:bodyPr>
          <a:lstStyle>
            <a:lvl1pPr defTabSz="914141">
              <a:defRPr b="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 bwMode="auto">
          <a:xfrm>
            <a:off x="3855350" y="0"/>
            <a:ext cx="2950765" cy="49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71" tIns="45685" rIns="91371" bIns="45685" numCol="1" anchor="t" anchorCtr="0" compatLnSpc="1">
            <a:prstTxWarp prst="textNoShape">
              <a:avLst/>
            </a:prstTxWarp>
          </a:bodyPr>
          <a:lstStyle>
            <a:lvl1pPr algn="r" defTabSz="914141">
              <a:defRPr b="0"/>
            </a:lvl1pPr>
          </a:lstStyle>
          <a:p>
            <a:fld id="{25CED2BE-036C-4FC3-AEB7-72147D5B2635}" type="datetimeFigureOut">
              <a:rPr lang="ko-KR" altLang="en-US"/>
              <a:pPr/>
              <a:t>2023-03-03</a:t>
            </a:fld>
            <a:endParaRPr lang="en-US" altLang="ko-KR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 bwMode="auto">
          <a:xfrm>
            <a:off x="2" y="9440784"/>
            <a:ext cx="2950765" cy="497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71" tIns="45685" rIns="91371" bIns="45685" numCol="1" anchor="b" anchorCtr="0" compatLnSpc="1">
            <a:prstTxWarp prst="textNoShape">
              <a:avLst/>
            </a:prstTxWarp>
          </a:bodyPr>
          <a:lstStyle>
            <a:lvl1pPr defTabSz="914141">
              <a:defRPr b="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 bwMode="auto">
          <a:xfrm>
            <a:off x="3855350" y="9440784"/>
            <a:ext cx="2950765" cy="497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71" tIns="45685" rIns="91371" bIns="45685" numCol="1" anchor="b" anchorCtr="0" compatLnSpc="1">
            <a:prstTxWarp prst="textNoShape">
              <a:avLst/>
            </a:prstTxWarp>
          </a:bodyPr>
          <a:lstStyle>
            <a:lvl1pPr algn="r" defTabSz="914141">
              <a:defRPr b="0"/>
            </a:lvl1pPr>
          </a:lstStyle>
          <a:p>
            <a:fld id="{2BE3DF1A-E833-46DA-9E07-1DE9EF904EC7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1699026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2950765" cy="49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71" tIns="45685" rIns="91371" bIns="45685" numCol="1" anchor="t" anchorCtr="0" compatLnSpc="1">
            <a:prstTxWarp prst="textNoShape">
              <a:avLst/>
            </a:prstTxWarp>
          </a:bodyPr>
          <a:lstStyle>
            <a:lvl1pPr defTabSz="914141">
              <a:defRPr b="0"/>
            </a:lvl1pPr>
          </a:lstStyle>
          <a:p>
            <a:endParaRPr lang="en-US" altLang="ko-KR"/>
          </a:p>
        </p:txBody>
      </p:sp>
      <p:sp>
        <p:nvSpPr>
          <p:cNvPr id="931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5350" y="0"/>
            <a:ext cx="2950765" cy="49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71" tIns="45685" rIns="91371" bIns="45685" numCol="1" anchor="t" anchorCtr="0" compatLnSpc="1">
            <a:prstTxWarp prst="textNoShape">
              <a:avLst/>
            </a:prstTxWarp>
          </a:bodyPr>
          <a:lstStyle>
            <a:lvl1pPr algn="r" defTabSz="914141">
              <a:defRPr b="0"/>
            </a:lvl1pPr>
          </a:lstStyle>
          <a:p>
            <a:endParaRPr lang="en-US" altLang="ko-KR"/>
          </a:p>
        </p:txBody>
      </p:sp>
      <p:sp>
        <p:nvSpPr>
          <p:cNvPr id="409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116138" y="746125"/>
            <a:ext cx="2579687" cy="3725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31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702" y="4720944"/>
            <a:ext cx="5443802" cy="4472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71" tIns="45685" rIns="91371" bIns="4568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</a:p>
        </p:txBody>
      </p:sp>
      <p:sp>
        <p:nvSpPr>
          <p:cNvPr id="931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440784"/>
            <a:ext cx="2950765" cy="497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71" tIns="45685" rIns="91371" bIns="45685" numCol="1" anchor="b" anchorCtr="0" compatLnSpc="1">
            <a:prstTxWarp prst="textNoShape">
              <a:avLst/>
            </a:prstTxWarp>
          </a:bodyPr>
          <a:lstStyle>
            <a:lvl1pPr defTabSz="914141">
              <a:defRPr b="0"/>
            </a:lvl1pPr>
          </a:lstStyle>
          <a:p>
            <a:endParaRPr lang="en-US" altLang="ko-KR"/>
          </a:p>
        </p:txBody>
      </p:sp>
      <p:sp>
        <p:nvSpPr>
          <p:cNvPr id="931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5350" y="9440784"/>
            <a:ext cx="2950765" cy="497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71" tIns="45685" rIns="91371" bIns="45685" numCol="1" anchor="b" anchorCtr="0" compatLnSpc="1">
            <a:prstTxWarp prst="textNoShape">
              <a:avLst/>
            </a:prstTxWarp>
          </a:bodyPr>
          <a:lstStyle>
            <a:lvl1pPr algn="r" defTabSz="914141">
              <a:defRPr b="0"/>
            </a:lvl1pPr>
          </a:lstStyle>
          <a:p>
            <a:fld id="{45F11104-5972-4B76-9014-774C9FCF87FE}" type="slidenum">
              <a:rPr lang="en-US" altLang="ko-KR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66478641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189035" y="9376305"/>
            <a:ext cx="1601299" cy="52969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1EF1A08-82EA-4F26-B2E9-0C835FCA8DC4}" type="datetimeFigureOut">
              <a:rPr lang="ko-KR" altLang="en-US"/>
              <a:pPr>
                <a:defRPr/>
              </a:pPr>
              <a:t>2023-03-03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2343150" y="9312099"/>
            <a:ext cx="2171700" cy="52969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5123718" y="9376305"/>
            <a:ext cx="1601299" cy="52969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3E1EF4D-B62F-468A-839F-073432F150EE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473DF23-8AB4-40AC-94EA-8C2E433D5FAE}" type="datetimeFigureOut">
              <a:rPr lang="ko-KR" altLang="en-US"/>
              <a:pPr>
                <a:defRPr/>
              </a:pPr>
              <a:t>2023-03-03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C8AE91D-31C0-44D7-9230-B6D163F7F4C3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42900" y="394405"/>
            <a:ext cx="2256326" cy="167851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681653" y="394409"/>
            <a:ext cx="3833447" cy="845449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342900" y="2072926"/>
            <a:ext cx="2256326" cy="677598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E4B3D87-7526-448E-B5C7-BEC2F0EE81F2}" type="datetimeFigureOut">
              <a:rPr lang="ko-KR" altLang="en-US"/>
              <a:pPr>
                <a:defRPr/>
              </a:pPr>
              <a:t>2023-03-03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7427ED2-85DC-4F4D-BEFF-BD4640ACF567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344124" y="6934200"/>
            <a:ext cx="4114800" cy="818622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344124" y="885119"/>
            <a:ext cx="4114800" cy="59436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344124" y="7752822"/>
            <a:ext cx="4114800" cy="116257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52CBEF5-1412-4D01-B4D7-F53BDC643A2E}" type="datetimeFigureOut">
              <a:rPr lang="ko-KR" altLang="en-US"/>
              <a:pPr>
                <a:defRPr/>
              </a:pPr>
              <a:t>2023-03-03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D3009A5-7010-4A87-88EE-ECFF617B6615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42900" y="396699"/>
            <a:ext cx="6172200" cy="1651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4255C0D-C9E9-4FA9-A503-48A48321E6D6}" type="datetimeFigureOut">
              <a:rPr lang="ko-KR" altLang="en-US"/>
              <a:pPr>
                <a:defRPr/>
              </a:pPr>
              <a:t>2023-03-0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CEA7269-C634-4FB2-9C17-1056ACC35DCA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4972050" y="396699"/>
            <a:ext cx="1543050" cy="845449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342906" y="396699"/>
            <a:ext cx="4523642" cy="845449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DBD7B1A-549F-4E02-90DC-C775B6D33BAF}" type="datetimeFigureOut">
              <a:rPr lang="ko-KR" altLang="en-US"/>
              <a:pPr>
                <a:defRPr/>
              </a:pPr>
              <a:t>2023-03-0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36FC65B-3014-4741-83DF-613698EB10E0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1F2FC2-5009-4ECA-952B-B3774E8CB1B1}" type="datetimeFigureOut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3-03-03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&lt;#&gt; / 23</a:t>
            </a:r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A56E8A-0797-44F0-81B4-8BBD00585B87}" type="slidenum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42900" y="396699"/>
            <a:ext cx="6172200" cy="1651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42900" y="2311400"/>
            <a:ext cx="6172200" cy="6539794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FE14DC-7A9D-4B36-8AAF-D1393CB48B77}" type="datetimeFigureOut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3-03-03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&lt;#&gt; / 23</a:t>
            </a: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50F33E-E428-42A7-982D-96D89E04CFFF}" type="slidenum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342900" y="396699"/>
            <a:ext cx="6172200" cy="845449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3" name="날짜 개체 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44BDFD-AE1B-487F-8EAE-4E73E043A7D1}" type="datetimeFigureOut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3-03-03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&lt;#&gt; / 23</a:t>
            </a:r>
          </a:p>
        </p:txBody>
      </p:sp>
      <p:sp>
        <p:nvSpPr>
          <p:cNvPr id="5" name="슬라이드 번호 개체 틀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CDD453-EC98-4DE9-A002-68ED91ADADC5}" type="slidenum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42901" y="396699"/>
            <a:ext cx="6172200" cy="1651000"/>
          </a:xfrm>
          <a:prstGeom prst="rect">
            <a:avLst/>
          </a:prstGeom>
        </p:spPr>
        <p:txBody>
          <a:bodyPr lIns="91405" tIns="45703" rIns="91405" bIns="45703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42901" y="2311402"/>
            <a:ext cx="6172200" cy="6539794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04C160-F285-40AB-906E-AC2B58534CCB}" type="datetimeFigureOut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3-03-03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&lt;#&gt; / 23</a:t>
            </a: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55F61A-9B59-44B6-BA22-61FEE1EAB778}" type="slidenum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1AA128-AFD7-494C-88C4-033869452859}" type="datetimeFigureOut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3-03-03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&lt;#&gt; / 23</a:t>
            </a:r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243898-35B9-4B4D-A5DC-B7F52D717388}" type="slidenum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42900" y="396699"/>
            <a:ext cx="6172200" cy="1651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42900" y="2311400"/>
            <a:ext cx="6172200" cy="6539794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189035" y="9376305"/>
            <a:ext cx="1601299" cy="52969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0AA4C94-6DF3-4FD7-A6E9-728F7AC1A28E}" type="datetimeFigureOut">
              <a:rPr lang="ko-KR" altLang="en-US"/>
              <a:pPr>
                <a:defRPr/>
              </a:pPr>
              <a:t>2023-03-0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2343150" y="9312099"/>
            <a:ext cx="2171700" cy="52969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5123718" y="9376305"/>
            <a:ext cx="1601299" cy="52969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104BE33-9735-4D8E-BF93-B491FCF6BFD8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189035" y="9376305"/>
            <a:ext cx="1601299" cy="52969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1EF1A08-82EA-4F26-B2E9-0C835FCA8DC4}" type="datetimeFigureOut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3-03-03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2343150" y="9312099"/>
            <a:ext cx="2171700" cy="52969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5123718" y="9376305"/>
            <a:ext cx="1601299" cy="52969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3E1EF4D-B62F-468A-839F-073432F150EE}" type="slidenum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42900" y="396699"/>
            <a:ext cx="6172200" cy="1651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42900" y="2311400"/>
            <a:ext cx="6172200" cy="6539794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189035" y="9376305"/>
            <a:ext cx="1601299" cy="52969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0AA4C94-6DF3-4FD7-A6E9-728F7AC1A28E}" type="datetimeFigureOut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3-03-03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2343150" y="9312099"/>
            <a:ext cx="2171700" cy="52969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5123718" y="9376305"/>
            <a:ext cx="1601299" cy="52969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104BE33-9735-4D8E-BF93-B491FCF6BFD8}" type="slidenum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342900" y="396699"/>
            <a:ext cx="6172200" cy="845449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189035" y="9376305"/>
            <a:ext cx="1601299" cy="52969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10AC6DC-8684-40DB-96B5-95D7141321C6}" type="datetimeFigureOut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3-03-03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2343150" y="9312099"/>
            <a:ext cx="2171700" cy="52969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5123718" y="9376305"/>
            <a:ext cx="1601299" cy="52969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D7497F0-4EB0-468A-8724-858654437392}" type="slidenum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189035" y="9376305"/>
            <a:ext cx="1601299" cy="52969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1EF1A08-82EA-4F26-B2E9-0C835FCA8DC4}" type="datetimeFigureOut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3-03-03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2343150" y="9312099"/>
            <a:ext cx="2171700" cy="52969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5123718" y="9376305"/>
            <a:ext cx="1601299" cy="52969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3E1EF4D-B62F-468A-839F-073432F150EE}" type="slidenum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42900" y="396699"/>
            <a:ext cx="6172200" cy="1651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42900" y="2311400"/>
            <a:ext cx="6172200" cy="6539794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189035" y="9376305"/>
            <a:ext cx="1601299" cy="52969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0AA4C94-6DF3-4FD7-A6E9-728F7AC1A28E}" type="datetimeFigureOut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3-03-03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2343150" y="9312099"/>
            <a:ext cx="2171700" cy="52969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5123718" y="9376305"/>
            <a:ext cx="1601299" cy="52969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104BE33-9735-4D8E-BF93-B491FCF6BFD8}" type="slidenum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342900" y="396699"/>
            <a:ext cx="6172200" cy="845449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189035" y="9376305"/>
            <a:ext cx="1601299" cy="52969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10AC6DC-8684-40DB-96B5-95D7141321C6}" type="datetimeFigureOut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3-03-03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2343150" y="9312099"/>
            <a:ext cx="2171700" cy="52969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5123718" y="9376305"/>
            <a:ext cx="1601299" cy="52969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D7497F0-4EB0-468A-8724-858654437392}" type="slidenum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189035" y="9376305"/>
            <a:ext cx="1601299" cy="52969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1EF1A08-82EA-4F26-B2E9-0C835FCA8DC4}" type="datetimeFigureOut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3-03-03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2343150" y="9312099"/>
            <a:ext cx="2171700" cy="52969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5123718" y="9376305"/>
            <a:ext cx="1601299" cy="52969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3E1EF4D-B62F-468A-839F-073432F150EE}" type="slidenum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42900" y="396699"/>
            <a:ext cx="6172200" cy="1651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42900" y="2311400"/>
            <a:ext cx="6172200" cy="6539794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189035" y="9376305"/>
            <a:ext cx="1601299" cy="52969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0AA4C94-6DF3-4FD7-A6E9-728F7AC1A28E}" type="datetimeFigureOut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3-03-03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2343150" y="9312099"/>
            <a:ext cx="2171700" cy="52969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5123718" y="9376305"/>
            <a:ext cx="1601299" cy="52969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104BE33-9735-4D8E-BF93-B491FCF6BFD8}" type="slidenum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342900" y="396699"/>
            <a:ext cx="6172200" cy="845449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189035" y="9376305"/>
            <a:ext cx="1601299" cy="52969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10AC6DC-8684-40DB-96B5-95D7141321C6}" type="datetimeFigureOut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3-03-03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2343150" y="9312099"/>
            <a:ext cx="2171700" cy="52969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5123718" y="9376305"/>
            <a:ext cx="1601299" cy="52969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D7497F0-4EB0-468A-8724-858654437392}" type="slidenum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342900" y="396699"/>
            <a:ext cx="6172200" cy="845449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189035" y="9376305"/>
            <a:ext cx="1601299" cy="52969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10AC6DC-8684-40DB-96B5-95D7141321C6}" type="datetimeFigureOut">
              <a:rPr lang="ko-KR" altLang="en-US"/>
              <a:pPr>
                <a:defRPr/>
              </a:pPr>
              <a:t>2023-03-03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2343150" y="9312099"/>
            <a:ext cx="2171700" cy="52969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5123718" y="9376305"/>
            <a:ext cx="1601299" cy="52969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D7497F0-4EB0-468A-8724-858654437392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514350" y="3077316"/>
            <a:ext cx="5829300" cy="2123369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028700" y="5613400"/>
            <a:ext cx="4800600" cy="253153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953680F-BD35-4406-ADD2-2194D8DECC65}" type="datetimeFigureOut">
              <a:rPr lang="ko-KR" altLang="en-US"/>
              <a:pPr>
                <a:defRPr/>
              </a:pPr>
              <a:t>2023-03-0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B2A86EC-2711-4A3C-AD4B-2FDD4C1F8E3F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42900" y="396699"/>
            <a:ext cx="6172200" cy="1651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DFA87B9-E4B5-4882-825E-159BA079BED8}" type="datetimeFigureOut">
              <a:rPr lang="ko-KR" altLang="en-US"/>
              <a:pPr>
                <a:defRPr/>
              </a:pPr>
              <a:t>2023-03-0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E045DA5-C2C0-404C-8BD3-2E26C6B3B3E9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41826" y="6365557"/>
            <a:ext cx="5829300" cy="1967442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541826" y="4198586"/>
            <a:ext cx="5829300" cy="216693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11D15B4-6641-4FDF-BB5E-F33B69B7D8EF}" type="datetimeFigureOut">
              <a:rPr lang="ko-KR" altLang="en-US"/>
              <a:pPr>
                <a:defRPr/>
              </a:pPr>
              <a:t>2023-03-0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C8B6AC1-309C-482C-8F69-97C6757F0AB6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42900" y="396699"/>
            <a:ext cx="6172200" cy="1651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342902" y="2311400"/>
            <a:ext cx="3033347" cy="653979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3481753" y="2311400"/>
            <a:ext cx="3033347" cy="653979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91EC02A-537B-4C2C-BDD5-19AD790FC4D1}" type="datetimeFigureOut">
              <a:rPr lang="ko-KR" altLang="en-US"/>
              <a:pPr>
                <a:defRPr/>
              </a:pPr>
              <a:t>2023-03-03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475567E-76C0-4A2D-A079-BEBF5663BEC1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42900" y="396699"/>
            <a:ext cx="6172200" cy="165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342900" y="2217385"/>
            <a:ext cx="3030049" cy="92410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342900" y="3141486"/>
            <a:ext cx="3030049" cy="57074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3483961" y="2217385"/>
            <a:ext cx="3031148" cy="92410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3483961" y="3141486"/>
            <a:ext cx="3031148" cy="57074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C25EC0E-844C-4EB5-A45F-31124DB60651}" type="datetimeFigureOut">
              <a:rPr lang="ko-KR" altLang="en-US"/>
              <a:pPr>
                <a:defRPr/>
              </a:pPr>
              <a:t>2023-03-03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5AE854A-4E65-4E28-9E87-D08AE4E40F17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42900" y="396699"/>
            <a:ext cx="6172200" cy="1651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33C0BE1-B163-4CFC-8EA1-E37A1EF91FF9}" type="datetimeFigureOut">
              <a:rPr lang="ko-KR" altLang="en-US"/>
              <a:pPr>
                <a:defRPr/>
              </a:pPr>
              <a:t>2023-03-03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6CFC2FA-C62E-4023-BEC7-32BEFDCFD06A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4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342900" y="2311400"/>
            <a:ext cx="6172200" cy="6539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 bwMode="auto">
          <a:xfrm>
            <a:off x="189035" y="9376305"/>
            <a:ext cx="1601299" cy="529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>
            <a:lvl1pPr algn="l">
              <a:defRPr sz="12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C7F55767-1F92-4281-9B78-4F98BA5BADF5}" type="datetimeFigureOut">
              <a:rPr lang="ko-KR" altLang="en-US"/>
              <a:pPr>
                <a:defRPr/>
              </a:pPr>
              <a:t>2023-03-0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 bwMode="auto">
          <a:xfrm>
            <a:off x="2343150" y="9312099"/>
            <a:ext cx="2171700" cy="529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>
            <a:lvl1pPr algn="ctr">
              <a:defRPr sz="1200" b="0">
                <a:solidFill>
                  <a:srgbClr val="898989"/>
                </a:solidFill>
              </a:defRPr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 bwMode="auto">
          <a:xfrm>
            <a:off x="5123718" y="9376305"/>
            <a:ext cx="1601299" cy="529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9A07129-7395-4E6D-A261-639D7BF626B4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  <p:sp>
        <p:nvSpPr>
          <p:cNvPr id="3092" name="Line 14"/>
          <p:cNvSpPr>
            <a:spLocks noChangeShapeType="1"/>
          </p:cNvSpPr>
          <p:nvPr/>
        </p:nvSpPr>
        <p:spPr bwMode="auto">
          <a:xfrm>
            <a:off x="0" y="772760"/>
            <a:ext cx="6858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60" r:id="rId1"/>
    <p:sldLayoutId id="2147484261" r:id="rId2"/>
    <p:sldLayoutId id="2147484262" r:id="rId3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4163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613" indent="-225425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178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342900" y="2311400"/>
            <a:ext cx="6172200" cy="6539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 bwMode="auto">
          <a:xfrm>
            <a:off x="189035" y="9376305"/>
            <a:ext cx="1601299" cy="529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>
            <a:lvl1pPr algn="l">
              <a:defRPr sz="12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A98DAF1D-379C-4CEC-87D6-06653E475BD6}" type="datetimeFigureOut">
              <a:rPr lang="ko-KR" altLang="en-US"/>
              <a:pPr>
                <a:defRPr/>
              </a:pPr>
              <a:t>2023-03-0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 bwMode="auto">
          <a:xfrm>
            <a:off x="2343150" y="9312099"/>
            <a:ext cx="2171700" cy="529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>
            <a:lvl1pPr algn="ctr">
              <a:defRPr sz="1200" b="0">
                <a:solidFill>
                  <a:srgbClr val="898989"/>
                </a:solidFill>
              </a:defRPr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 bwMode="auto">
          <a:xfrm>
            <a:off x="5123718" y="9376305"/>
            <a:ext cx="1601299" cy="529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8686A86-AFBE-4E14-B7BF-C71186DDAFAE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  <p:sp>
        <p:nvSpPr>
          <p:cNvPr id="434186" name="Line 14"/>
          <p:cNvSpPr>
            <a:spLocks noChangeShapeType="1"/>
          </p:cNvSpPr>
          <p:nvPr/>
        </p:nvSpPr>
        <p:spPr bwMode="auto">
          <a:xfrm>
            <a:off x="0" y="772760"/>
            <a:ext cx="6858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49" r:id="rId1"/>
    <p:sldLayoutId id="2147484250" r:id="rId2"/>
    <p:sldLayoutId id="2147484251" r:id="rId3"/>
    <p:sldLayoutId id="2147484252" r:id="rId4"/>
    <p:sldLayoutId id="2147484253" r:id="rId5"/>
    <p:sldLayoutId id="2147484254" r:id="rId6"/>
    <p:sldLayoutId id="2147484255" r:id="rId7"/>
    <p:sldLayoutId id="2147484256" r:id="rId8"/>
    <p:sldLayoutId id="2147484257" r:id="rId9"/>
    <p:sldLayoutId id="2147484258" r:id="rId10"/>
    <p:sldLayoutId id="2147484259" r:id="rId11"/>
  </p:sldLayoutIdLst>
  <p:timing>
    <p:tnLst>
      <p:par>
        <p:cTn id="1" dur="indefinite" restart="never" nodeType="tmRoot"/>
      </p:par>
    </p:tnLst>
  </p:timing>
  <p:txStyles>
    <p:titleStyle>
      <a:lvl1pPr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굴림" pitchFamily="50" charset="-127"/>
          <a:ea typeface="굴림" pitchFamily="50" charset="-127"/>
        </a:defRPr>
      </a:lvl2pPr>
      <a:lvl3pPr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굴림" pitchFamily="50" charset="-127"/>
          <a:ea typeface="굴림" pitchFamily="50" charset="-127"/>
        </a:defRPr>
      </a:lvl3pPr>
      <a:lvl4pPr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굴림" pitchFamily="50" charset="-127"/>
          <a:ea typeface="굴림" pitchFamily="50" charset="-127"/>
        </a:defRPr>
      </a:lvl4pPr>
      <a:lvl5pPr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굴림" pitchFamily="50" charset="-127"/>
          <a:ea typeface="굴림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fontAlgn="base" latinLnBrk="1">
        <a:spcBef>
          <a:spcPct val="20000"/>
        </a:spcBef>
        <a:spcAft>
          <a:spcPct val="0"/>
        </a:spcAft>
        <a:buFont typeface="Arial" charset="0"/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4163" algn="l" rtl="0" fontAlgn="base" latinLnBrk="1">
        <a:spcBef>
          <a:spcPct val="20000"/>
        </a:spcBef>
        <a:spcAft>
          <a:spcPct val="0"/>
        </a:spcAft>
        <a:buFont typeface="Arial" charset="0"/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fontAlgn="base" latinLnBrk="1">
        <a:spcBef>
          <a:spcPct val="20000"/>
        </a:spcBef>
        <a:spcAft>
          <a:spcPct val="0"/>
        </a:spcAft>
        <a:buFont typeface="Arial" charset="0"/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598613" indent="-225425" algn="l" rtl="0" fontAlgn="base" latinLnBrk="1">
        <a:spcBef>
          <a:spcPct val="20000"/>
        </a:spcBef>
        <a:spcAft>
          <a:spcPct val="0"/>
        </a:spcAft>
        <a:buFont typeface="Arial" charset="0"/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 latinLnBrk="1">
        <a:spcBef>
          <a:spcPct val="20000"/>
        </a:spcBef>
        <a:spcAft>
          <a:spcPct val="0"/>
        </a:spcAft>
        <a:buFont typeface="Arial" charset="0"/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Font typeface="Arial" charset="0"/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Font typeface="Arial" charset="0"/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Font typeface="Arial" charset="0"/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Font typeface="Arial" charset="0"/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342900" y="2311400"/>
            <a:ext cx="6172200" cy="6539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 bwMode="auto">
          <a:xfrm>
            <a:off x="189035" y="9376305"/>
            <a:ext cx="1601299" cy="529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>
            <a:lvl1pPr algn="l">
              <a:defRPr sz="12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D7F0454-0733-412D-B4C0-608C5266F784}" type="datetimeFigureOut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3-03-03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 bwMode="auto">
          <a:xfrm>
            <a:off x="2343150" y="9312099"/>
            <a:ext cx="2171700" cy="529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>
            <a:lvl1pPr algn="ctr">
              <a:defRPr sz="1200" b="0" smtClean="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r>
              <a:rPr lang="en-US" altLang="ko-KR"/>
              <a:t>&lt;#&gt; / 23</a:t>
            </a: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 bwMode="auto">
          <a:xfrm>
            <a:off x="5123718" y="9376305"/>
            <a:ext cx="1601299" cy="529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A506CC8A-DA03-49FE-8D6E-455A0CD28031}" type="slidenum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090" name="Line 21"/>
          <p:cNvSpPr>
            <a:spLocks noChangeShapeType="1"/>
          </p:cNvSpPr>
          <p:nvPr userDrawn="1"/>
        </p:nvSpPr>
        <p:spPr bwMode="auto">
          <a:xfrm>
            <a:off x="0" y="9321272"/>
            <a:ext cx="6858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3092" name="Line 14"/>
          <p:cNvSpPr>
            <a:spLocks noChangeShapeType="1"/>
          </p:cNvSpPr>
          <p:nvPr userDrawn="1"/>
        </p:nvSpPr>
        <p:spPr bwMode="auto">
          <a:xfrm>
            <a:off x="0" y="772760"/>
            <a:ext cx="6858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64" r:id="rId1"/>
    <p:sldLayoutId id="2147484265" r:id="rId2"/>
    <p:sldLayoutId id="2147484266" r:id="rId3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4163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613" indent="-225425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342900" y="2311400"/>
            <a:ext cx="6172200" cy="6539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3" tIns="45698" rIns="91393" bIns="4569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 bwMode="auto">
          <a:xfrm>
            <a:off x="189035" y="9376305"/>
            <a:ext cx="1601299" cy="529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3" tIns="45698" rIns="91393" bIns="45698" numCol="1" anchor="ctr" anchorCtr="0" compatLnSpc="1">
            <a:prstTxWarp prst="textNoShape">
              <a:avLst/>
            </a:prstTxWarp>
          </a:bodyPr>
          <a:lstStyle>
            <a:lvl1pPr algn="l">
              <a:defRPr sz="1200" b="0">
                <a:solidFill>
                  <a:schemeClr val="tx1">
                    <a:tint val="75000"/>
                  </a:schemeClr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fld id="{918370C6-003A-4A01-A53E-34F7C7AF34BD}" type="datetimeFigureOut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3-03-03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 bwMode="auto">
          <a:xfrm>
            <a:off x="2343150" y="9312099"/>
            <a:ext cx="2171700" cy="529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3" tIns="45698" rIns="91393" bIns="45698" numCol="1" anchor="ctr" anchorCtr="0" compatLnSpc="1">
            <a:prstTxWarp prst="textNoShape">
              <a:avLst/>
            </a:prstTxWarp>
          </a:bodyPr>
          <a:lstStyle>
            <a:lvl1pPr algn="ctr">
              <a:defRPr sz="1200" b="0">
                <a:solidFill>
                  <a:srgbClr val="898989"/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r>
              <a:rPr lang="en-US" altLang="ko-KR"/>
              <a:t>&lt;#&gt; / 23</a:t>
            </a: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 bwMode="auto">
          <a:xfrm>
            <a:off x="5123718" y="9376305"/>
            <a:ext cx="1601299" cy="529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3" tIns="45698" rIns="91393" bIns="45698" numCol="1" anchor="ctr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>
                    <a:tint val="75000"/>
                  </a:schemeClr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fld id="{525B2C94-26B7-4785-BD96-23DC0734E42A}" type="slidenum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092" name="Line 14"/>
          <p:cNvSpPr>
            <a:spLocks noChangeShapeType="1"/>
          </p:cNvSpPr>
          <p:nvPr/>
        </p:nvSpPr>
        <p:spPr bwMode="auto">
          <a:xfrm>
            <a:off x="0" y="772760"/>
            <a:ext cx="6858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1405" tIns="45703" rIns="91405" bIns="45703"/>
          <a:lstStyle/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68" r:id="rId1"/>
    <p:sldLayoutId id="2147484269" r:id="rId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034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068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099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134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1313" indent="-341313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2575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413" indent="-227013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025" indent="-223838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682" indent="-228516" algn="l" defTabSz="914068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17" indent="-228516" algn="l" defTabSz="914068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50" indent="-228516" algn="l" defTabSz="914068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82" indent="-228516" algn="l" defTabSz="914068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068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4" algn="l" defTabSz="914068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68" algn="l" defTabSz="914068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99" algn="l" defTabSz="914068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34" algn="l" defTabSz="914068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67" algn="l" defTabSz="914068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99" algn="l" defTabSz="914068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33" algn="l" defTabSz="914068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65" algn="l" defTabSz="914068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342900" y="2311400"/>
            <a:ext cx="6172200" cy="6539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 bwMode="auto">
          <a:xfrm>
            <a:off x="189035" y="9376305"/>
            <a:ext cx="1601299" cy="529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>
            <a:lvl1pPr algn="l">
              <a:defRPr sz="12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C7F55767-1F92-4281-9B78-4F98BA5BADF5}" type="datetimeFigureOut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3-03-03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 bwMode="auto">
          <a:xfrm>
            <a:off x="2343150" y="9312099"/>
            <a:ext cx="2171700" cy="529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>
            <a:lvl1pPr algn="ctr">
              <a:defRPr sz="1200" b="0">
                <a:solidFill>
                  <a:srgbClr val="898989"/>
                </a:solidFill>
              </a:defRPr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 bwMode="auto">
          <a:xfrm>
            <a:off x="5123718" y="9376305"/>
            <a:ext cx="1601299" cy="529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9A07129-7395-4E6D-A261-639D7BF626B4}" type="slidenum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090" name="Line 21"/>
          <p:cNvSpPr>
            <a:spLocks noChangeShapeType="1"/>
          </p:cNvSpPr>
          <p:nvPr/>
        </p:nvSpPr>
        <p:spPr bwMode="auto">
          <a:xfrm>
            <a:off x="0" y="9321272"/>
            <a:ext cx="6858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3092" name="Line 14"/>
          <p:cNvSpPr>
            <a:spLocks noChangeShapeType="1"/>
          </p:cNvSpPr>
          <p:nvPr/>
        </p:nvSpPr>
        <p:spPr bwMode="auto">
          <a:xfrm>
            <a:off x="0" y="772760"/>
            <a:ext cx="6858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71" r:id="rId1"/>
    <p:sldLayoutId id="2147484272" r:id="rId2"/>
    <p:sldLayoutId id="2147484273" r:id="rId3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4163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613" indent="-225425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342900" y="2311400"/>
            <a:ext cx="6172200" cy="6539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 bwMode="auto">
          <a:xfrm>
            <a:off x="189035" y="9376305"/>
            <a:ext cx="1601299" cy="529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>
            <a:lvl1pPr algn="l">
              <a:defRPr sz="12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C7F55767-1F92-4281-9B78-4F98BA5BADF5}" type="datetimeFigureOut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3-03-03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 bwMode="auto">
          <a:xfrm>
            <a:off x="2343150" y="9312099"/>
            <a:ext cx="2171700" cy="529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>
            <a:lvl1pPr algn="ctr">
              <a:defRPr sz="1200" b="0">
                <a:solidFill>
                  <a:srgbClr val="898989"/>
                </a:solidFill>
              </a:defRPr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 bwMode="auto">
          <a:xfrm>
            <a:off x="5123718" y="9376305"/>
            <a:ext cx="1601299" cy="529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9A07129-7395-4E6D-A261-639D7BF626B4}" type="slidenum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090" name="Line 21"/>
          <p:cNvSpPr>
            <a:spLocks noChangeShapeType="1"/>
          </p:cNvSpPr>
          <p:nvPr/>
        </p:nvSpPr>
        <p:spPr bwMode="auto">
          <a:xfrm>
            <a:off x="0" y="9321272"/>
            <a:ext cx="6858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3092" name="Line 14"/>
          <p:cNvSpPr>
            <a:spLocks noChangeShapeType="1"/>
          </p:cNvSpPr>
          <p:nvPr/>
        </p:nvSpPr>
        <p:spPr bwMode="auto">
          <a:xfrm>
            <a:off x="0" y="772760"/>
            <a:ext cx="6858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75" r:id="rId1"/>
    <p:sldLayoutId id="2147484276" r:id="rId2"/>
    <p:sldLayoutId id="2147484277" r:id="rId3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4163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613" indent="-225425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342900" y="2311400"/>
            <a:ext cx="6172200" cy="6539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 bwMode="auto">
          <a:xfrm>
            <a:off x="189035" y="9376305"/>
            <a:ext cx="1601299" cy="529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>
            <a:lvl1pPr algn="l">
              <a:defRPr sz="12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C7F55767-1F92-4281-9B78-4F98BA5BADF5}" type="datetimeFigureOut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3-03-03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 bwMode="auto">
          <a:xfrm>
            <a:off x="2343150" y="9312099"/>
            <a:ext cx="2171700" cy="529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>
            <a:lvl1pPr algn="ctr">
              <a:defRPr sz="1200" b="0">
                <a:solidFill>
                  <a:srgbClr val="898989"/>
                </a:solidFill>
              </a:defRPr>
            </a:lvl1pPr>
          </a:lstStyle>
          <a:p>
            <a:r>
              <a:rPr lang="en-US" altLang="ko-KR"/>
              <a:t>&lt;#&gt; / 23</a:t>
            </a: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 bwMode="auto">
          <a:xfrm>
            <a:off x="5123718" y="9376305"/>
            <a:ext cx="1601299" cy="529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9A07129-7395-4E6D-A261-639D7BF626B4}" type="slidenum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090" name="Line 21"/>
          <p:cNvSpPr>
            <a:spLocks noChangeShapeType="1"/>
          </p:cNvSpPr>
          <p:nvPr/>
        </p:nvSpPr>
        <p:spPr bwMode="auto">
          <a:xfrm>
            <a:off x="0" y="9321272"/>
            <a:ext cx="6858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3092" name="Line 14"/>
          <p:cNvSpPr>
            <a:spLocks noChangeShapeType="1"/>
          </p:cNvSpPr>
          <p:nvPr/>
        </p:nvSpPr>
        <p:spPr bwMode="auto">
          <a:xfrm>
            <a:off x="0" y="772760"/>
            <a:ext cx="6858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79" r:id="rId1"/>
    <p:sldLayoutId id="2147484280" r:id="rId2"/>
    <p:sldLayoutId id="2147484281" r:id="rId3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4163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613" indent="-225425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71" name="Text Box 3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085" y="178480"/>
            <a:ext cx="3169457" cy="4770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ko-KR" altLang="en-US" sz="250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재경지역 </a:t>
            </a:r>
            <a:r>
              <a:rPr lang="en-US" altLang="ko-KR" sz="250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KTX </a:t>
            </a:r>
            <a:r>
              <a:rPr lang="ko-KR" altLang="en-US" sz="250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지원제도</a:t>
            </a:r>
            <a:endParaRPr lang="ko-KR" altLang="en-US" sz="250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aphicFrame>
        <p:nvGraphicFramePr>
          <p:cNvPr id="11" name="Group 4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834594"/>
              </p:ext>
            </p:extLst>
          </p:nvPr>
        </p:nvGraphicFramePr>
        <p:xfrm>
          <a:off x="92057" y="1748449"/>
          <a:ext cx="6671311" cy="7531515"/>
        </p:xfrm>
        <a:graphic>
          <a:graphicData uri="http://schemas.openxmlformats.org/drawingml/2006/table">
            <a:tbl>
              <a:tblPr/>
              <a:tblGrid>
                <a:gridCol w="631825"/>
                <a:gridCol w="4458018"/>
                <a:gridCol w="1581468"/>
              </a:tblGrid>
              <a:tr h="64587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항 목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    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내     용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비 고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6237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목적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재경지역 대졸 신입사원 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Attraction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및 </a:t>
                      </a:r>
                      <a:r>
                        <a:rPr kumimoji="1" lang="ko-KR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전배인원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Retention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2406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대상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H&amp;A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본부 신입사원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정규직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촉탁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중 재경지역 연고자로 입사일 기준 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/>
                      </a:r>
                      <a:b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  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만 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3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년에 한하여 지원함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5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재경지역 근무 후 창원으로 단신 부임한 인원에 한해 이동일 기준 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/>
                      </a:r>
                      <a:b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   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만 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3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년에 한하여 지원함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*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재경지역 연고지 증빙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매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회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월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부모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배우자의 연고가 </a:t>
                      </a: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증빙가능한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 등본 혹은 그에 준하는 서류 확인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66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324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이용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준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월 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회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왕복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주말 전일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~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주말 마지막 날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/>
                      </a:r>
                      <a:b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 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단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공휴일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/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휴가가 연결된 경우 공휴일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휴가 전일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~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휴일 마지막 날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5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66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kumimoji="1" lang="ko-KR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이용역은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창원소재 기차역과</a:t>
                      </a: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 서울역의 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KTX</a:t>
                      </a: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이동을 기본으로 함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/>
                      </a:r>
                      <a:b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</a:b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   </a:t>
                      </a: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노선 확대에 따라 용산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, </a:t>
                      </a: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광명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, </a:t>
                      </a:r>
                      <a:r>
                        <a:rPr kumimoji="1" lang="ko-KR" altLang="en-US" sz="11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동탄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, </a:t>
                      </a:r>
                      <a:r>
                        <a:rPr kumimoji="1" lang="ko-KR" altLang="en-US" sz="11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지제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, </a:t>
                      </a: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수서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, </a:t>
                      </a:r>
                      <a:r>
                        <a:rPr kumimoji="1" lang="ko-KR" altLang="en-US" sz="11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행신역까지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지원함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/>
                      </a:r>
                      <a:b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</a:br>
                      <a:r>
                        <a:rPr kumimoji="1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    (</a:t>
                      </a: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단</a:t>
                      </a:r>
                      <a:r>
                        <a:rPr kumimoji="1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, </a:t>
                      </a:r>
                      <a:r>
                        <a:rPr kumimoji="1" lang="ko-KR" altLang="en-US" sz="10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동탄</a:t>
                      </a:r>
                      <a:r>
                        <a:rPr kumimoji="1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 / </a:t>
                      </a:r>
                      <a:r>
                        <a:rPr kumimoji="1" lang="ko-KR" altLang="en-US" sz="10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지제</a:t>
                      </a:r>
                      <a:r>
                        <a:rPr kumimoji="1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 / </a:t>
                      </a:r>
                      <a:r>
                        <a:rPr kumimoji="1" lang="ko-KR" altLang="en-US" sz="10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수서역의</a:t>
                      </a: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 경우 </a:t>
                      </a:r>
                      <a:r>
                        <a:rPr kumimoji="1" lang="ko-KR" altLang="en-US" sz="10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동대구역에서</a:t>
                      </a: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kumimoji="1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SRT</a:t>
                      </a: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로 </a:t>
                      </a:r>
                      <a:r>
                        <a:rPr kumimoji="1" lang="ko-KR" altLang="en-US" sz="10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환승</a:t>
                      </a: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 시</a:t>
                      </a:r>
                      <a:r>
                        <a:rPr kumimoji="1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*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창원소재 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KTX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차역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창원중앙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창원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마산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66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237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결재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본인 법인카드만 허용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617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비용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처리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비용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증빙 처리는 이용자가 처리하며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예산은 각 부서에서 별도 반영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/>
                      </a:r>
                      <a:b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 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처리 계정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: </a:t>
                      </a: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복후비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계정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endParaRPr kumimoji="1" lang="en-US" altLang="ko-KR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66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결재라인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: 1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차 경비처리 담당자 →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차 소속 조직책임자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/>
                      </a:r>
                      <a:b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 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예산추가 결재라인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비용처리상추가 결재라인은 </a:t>
                      </a: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조직별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별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Guide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에 따라 운영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* </a:t>
                      </a:r>
                      <a:r>
                        <a:rPr kumimoji="1" lang="ko-KR" altLang="en-US" sz="11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개인 과표추가 必</a:t>
                      </a:r>
                      <a:endParaRPr kumimoji="1" lang="ko-KR" altLang="ko-KR" sz="1100" b="1" i="0" u="sng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9685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관리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해당 조직책임자 품의 후 소속 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HR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담당자에 전달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/>
                      </a:r>
                      <a:b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 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사규 위반 시 </a:t>
                      </a:r>
                      <a:r>
                        <a:rPr kumimoji="1" lang="ko-KR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결재자도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책임을 같이 함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오남용 시 해당 금액 환수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66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21865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운영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정해진 양식에 품의하고 해당 내용을 분기별 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Monitoring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실시함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* 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대상자 파악 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확정은        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/>
                      </a:r>
                      <a:b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 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매년 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월 중 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Updat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4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타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이동수단은 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KTX / SRT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에 한하며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항공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버스 제외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 </a:t>
                      </a:r>
                      <a:r>
                        <a:rPr kumimoji="1" lang="ko-KR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일반실만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이용가능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 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66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4" name="Text Box 6"/>
          <p:cNvSpPr txBox="1">
            <a:spLocks noChangeArrowheads="1"/>
          </p:cNvSpPr>
          <p:nvPr/>
        </p:nvSpPr>
        <p:spPr bwMode="auto">
          <a:xfrm>
            <a:off x="14290" y="972602"/>
            <a:ext cx="6600825" cy="674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lnSpc>
                <a:spcPct val="135000"/>
              </a:lnSpc>
            </a:pP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서울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경기 소재 대졸 신입사원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ttraction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및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etention,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재경지역 </a:t>
            </a:r>
            <a:r>
              <a:rPr lang="ko-KR" altLang="en-US" sz="140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배자의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지원을 위해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재경지역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KTX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지원제도를 운영함</a:t>
            </a:r>
            <a:endParaRPr lang="en-US" altLang="ko-KR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6" name="오각형 45"/>
          <p:cNvSpPr/>
          <p:nvPr/>
        </p:nvSpPr>
        <p:spPr>
          <a:xfrm>
            <a:off x="2275653" y="8069456"/>
            <a:ext cx="1260000" cy="516676"/>
          </a:xfrm>
          <a:prstGeom prst="homePlate">
            <a:avLst>
              <a:gd name="adj" fmla="val 26657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7" name="Text Box 260"/>
          <p:cNvSpPr txBox="1">
            <a:spLocks noChangeArrowheads="1"/>
          </p:cNvSpPr>
          <p:nvPr/>
        </p:nvSpPr>
        <p:spPr bwMode="auto">
          <a:xfrm>
            <a:off x="2330908" y="8076788"/>
            <a:ext cx="104227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ool </a:t>
            </a:r>
            <a:r>
              <a:rPr lang="ko-KR" altLang="en-US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취합 및 </a:t>
            </a:r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대상 확정</a:t>
            </a:r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8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800" b="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인사팀</a:t>
            </a:r>
            <a:r>
              <a:rPr lang="ko-KR" altLang="en-US" sz="8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8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 </a:t>
            </a:r>
            <a:r>
              <a:rPr lang="ko-KR" altLang="en-US" sz="8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업부</a:t>
            </a:r>
            <a:r>
              <a:rPr lang="en-US" altLang="ko-KR" sz="8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HR)</a:t>
            </a:r>
            <a:endParaRPr lang="ko-KR" altLang="en-US" sz="800" b="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8" name="오각형 47"/>
          <p:cNvSpPr/>
          <p:nvPr/>
        </p:nvSpPr>
        <p:spPr>
          <a:xfrm>
            <a:off x="1006128" y="8069456"/>
            <a:ext cx="1260000" cy="516676"/>
          </a:xfrm>
          <a:prstGeom prst="homePlate">
            <a:avLst>
              <a:gd name="adj" fmla="val 26657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9" name="Text Box 260"/>
          <p:cNvSpPr txBox="1">
            <a:spLocks noChangeArrowheads="1"/>
          </p:cNvSpPr>
          <p:nvPr/>
        </p:nvSpPr>
        <p:spPr bwMode="auto">
          <a:xfrm>
            <a:off x="1025400" y="8165876"/>
            <a:ext cx="104227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ko-KR" altLang="en-US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대상자 파악</a:t>
            </a:r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8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800" b="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인사팀</a:t>
            </a:r>
            <a:r>
              <a:rPr lang="ko-KR" altLang="en-US" sz="8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8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 </a:t>
            </a:r>
            <a:r>
              <a:rPr lang="ko-KR" altLang="en-US" sz="8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업부</a:t>
            </a:r>
            <a:r>
              <a:rPr lang="en-US" altLang="ko-KR" sz="8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HR)</a:t>
            </a:r>
            <a:endParaRPr lang="ko-KR" altLang="en-US" sz="800" b="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0" name="오각형 49"/>
          <p:cNvSpPr/>
          <p:nvPr/>
        </p:nvSpPr>
        <p:spPr>
          <a:xfrm>
            <a:off x="3541616" y="8069456"/>
            <a:ext cx="1260000" cy="516676"/>
          </a:xfrm>
          <a:prstGeom prst="homePlate">
            <a:avLst>
              <a:gd name="adj" fmla="val 26657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1" name="Text Box 260"/>
          <p:cNvSpPr txBox="1">
            <a:spLocks noChangeArrowheads="1"/>
          </p:cNvSpPr>
          <p:nvPr/>
        </p:nvSpPr>
        <p:spPr bwMode="auto">
          <a:xfrm>
            <a:off x="3574050" y="8165876"/>
            <a:ext cx="108715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ko-KR" altLang="en-US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시 </a:t>
            </a:r>
            <a: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onitoring</a:t>
            </a:r>
            <a:br>
              <a:rPr lang="en-US" altLang="ko-KR" sz="1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8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800" b="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인사노경팀</a:t>
            </a:r>
            <a:r>
              <a:rPr lang="en-US" altLang="ko-KR" sz="8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endParaRPr lang="ko-KR" altLang="en-US" sz="800" b="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811312" y="8985448"/>
            <a:ext cx="3429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ct val="50000"/>
              </a:spcBef>
            </a:pPr>
            <a:r>
              <a:rPr lang="en-US" altLang="ko-KR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※ </a:t>
            </a:r>
            <a:r>
              <a:rPr lang="ko-KR" altLang="en-US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문의사항 </a:t>
            </a:r>
            <a:r>
              <a:rPr lang="en-US" altLang="ko-KR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H&amp;A</a:t>
            </a:r>
            <a:r>
              <a:rPr lang="ko-KR" altLang="en-US" sz="1000" b="0" dirty="0" err="1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인사팀</a:t>
            </a:r>
            <a:r>
              <a:rPr lang="ko-KR" altLang="en-US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채용담당자</a:t>
            </a:r>
            <a:r>
              <a:rPr lang="en-US" altLang="ko-KR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내선 </a:t>
            </a:r>
            <a:r>
              <a:rPr lang="en-US" altLang="ko-KR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8502-3168)</a:t>
            </a:r>
          </a:p>
        </p:txBody>
      </p:sp>
      <p:sp>
        <p:nvSpPr>
          <p:cNvPr id="13" name="직사각형 12"/>
          <p:cNvSpPr/>
          <p:nvPr/>
        </p:nvSpPr>
        <p:spPr>
          <a:xfrm>
            <a:off x="811312" y="7807920"/>
            <a:ext cx="3429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ct val="50000"/>
              </a:spcBef>
            </a:pPr>
            <a:r>
              <a:rPr lang="en-US" altLang="ko-KR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※ </a:t>
            </a:r>
            <a:r>
              <a:rPr lang="ko-KR" altLang="en-US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대상자 확정 및 </a:t>
            </a:r>
            <a:r>
              <a:rPr lang="en-US" altLang="ko-KR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onitoring Process</a:t>
            </a:r>
          </a:p>
        </p:txBody>
      </p:sp>
    </p:spTree>
    <p:extLst>
      <p:ext uri="{BB962C8B-B14F-4D97-AF65-F5344CB8AC3E}">
        <p14:creationId xmlns:p14="http://schemas.microsoft.com/office/powerpoint/2010/main" val="37979491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71" name="Text Box 3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085" y="178480"/>
            <a:ext cx="2106667" cy="4770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ko-KR" altLang="en-US" sz="250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참조</a:t>
            </a:r>
            <a:r>
              <a:rPr lang="en-US" altLang="ko-KR" sz="250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. </a:t>
            </a:r>
            <a:r>
              <a:rPr lang="ko-KR" altLang="en-US" sz="250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품의 양식</a:t>
            </a:r>
            <a:endParaRPr lang="ko-KR" altLang="en-US" sz="250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222548" y="890960"/>
            <a:ext cx="6408712" cy="871296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87363" y="1136576"/>
            <a:ext cx="587660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아래 내용으로 재경지역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KTX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용에 대해 품의 드리오니 검토 후 재가 </a:t>
            </a:r>
            <a:r>
              <a:rPr lang="ko-KR" altLang="en-US" sz="140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요청드립니다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endParaRPr lang="ko-KR" altLang="en-US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87363" y="1624901"/>
            <a:ext cx="588622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======================================================</a:t>
            </a:r>
            <a:endParaRPr lang="ko-KR" altLang="en-US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87363" y="3073331"/>
            <a:ext cx="251992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.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목적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재경지역 연고자 자택 방문</a:t>
            </a:r>
            <a:endParaRPr lang="ko-KR" altLang="en-US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87363" y="3656432"/>
            <a:ext cx="218489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소속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OOO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업부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OOOO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팀</a:t>
            </a:r>
            <a:endParaRPr lang="ko-KR" altLang="en-US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87363" y="4239533"/>
            <a:ext cx="111408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5.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성명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김태희</a:t>
            </a:r>
            <a:endParaRPr lang="ko-KR" altLang="en-US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87363" y="4822634"/>
            <a:ext cx="129683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6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 </a:t>
            </a:r>
            <a:r>
              <a:rPr lang="ko-KR" altLang="en-US" sz="140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번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123456</a:t>
            </a:r>
            <a:endParaRPr lang="ko-KR" altLang="en-US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87363" y="5405735"/>
            <a:ext cx="5241820" cy="6463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7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용내역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-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귀경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YYYY/MM/DD(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요일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(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창원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09:30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→ 서울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3:03 _ 52,100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원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  <a:p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-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귀사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YYYY/MM/DD(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요일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(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서울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09:30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→ 창원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3:03 _ 52,100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원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87363" y="6419721"/>
            <a:ext cx="3682098" cy="6463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※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결재라인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* 1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차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경비처리 담당자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차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소속 조직책임자 전결</a:t>
            </a:r>
            <a:r>
              <a:rPr lang="en-US" altLang="ko-KR" sz="14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4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소속 </a:t>
            </a:r>
            <a:r>
              <a:rPr lang="en-US" altLang="ko-KR" sz="14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HR </a:t>
            </a:r>
            <a:r>
              <a:rPr lang="ko-KR" altLang="en-US" sz="14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담당자 </a:t>
            </a:r>
            <a:r>
              <a:rPr lang="en-US" altLang="ko-KR" sz="14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c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33108" y="7162256"/>
            <a:ext cx="465993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ko-KR" altLang="en-US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참조</a:t>
            </a:r>
            <a:r>
              <a:rPr lang="en-US" altLang="ko-KR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 </a:t>
            </a:r>
            <a:r>
              <a:rPr lang="ko-KR" altLang="en-US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예산추가 및 비용 결재라인상 </a:t>
            </a:r>
            <a:r>
              <a:rPr lang="ko-KR" altLang="en-US" sz="1000" b="0" dirty="0" err="1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가되어야하는</a:t>
            </a:r>
            <a:r>
              <a:rPr lang="ko-KR" altLang="en-US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부분은 각 </a:t>
            </a:r>
            <a:r>
              <a:rPr lang="ko-KR" altLang="en-US" sz="1000" b="0" dirty="0" err="1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조직별로</a:t>
            </a:r>
            <a:r>
              <a:rPr lang="ko-KR" altLang="en-US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상이하므로 필요 시 </a:t>
            </a:r>
            <a:r>
              <a:rPr lang="en-US" altLang="ko-KR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     </a:t>
            </a:r>
            <a:r>
              <a:rPr lang="ko-KR" altLang="en-US" sz="1000" b="0" dirty="0" err="1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임의추가하여</a:t>
            </a:r>
            <a:r>
              <a:rPr lang="ko-KR" altLang="en-US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처리해주시면 됩니다</a:t>
            </a:r>
            <a:r>
              <a:rPr lang="en-US" altLang="ko-KR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87363" y="1907129"/>
            <a:ext cx="453008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.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지원 구분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/>
              </a:rPr>
              <a:t>신입사원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/>
              </a:rPr>
              <a:t>(     )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/>
              </a:rPr>
              <a:t>        단신부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/>
              </a:rPr>
              <a:t>임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/>
              </a:rPr>
              <a:t>(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/>
              </a:rPr>
              <a:t>재경→창원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/>
              </a:rPr>
              <a:t>)  (   )</a:t>
            </a:r>
            <a:endParaRPr lang="ko-KR" altLang="en-US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87363" y="2490230"/>
            <a:ext cx="341119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입사발령일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동발령일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 2000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년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00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월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00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</a:t>
            </a:r>
            <a:endParaRPr lang="ko-KR" altLang="en-US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92696" y="2782888"/>
            <a:ext cx="326211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※ </a:t>
            </a:r>
            <a:r>
              <a:rPr lang="ko-KR" altLang="en-US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품의일자 기준으로 입사</a:t>
            </a:r>
            <a:r>
              <a:rPr lang="en-US" altLang="ko-KR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동발령일 만 </a:t>
            </a:r>
            <a:r>
              <a:rPr lang="en-US" altLang="ko-KR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</a:t>
            </a:r>
            <a:r>
              <a:rPr lang="ko-KR" altLang="en-US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년 이내만 지원 가능</a:t>
            </a:r>
            <a:endParaRPr lang="en-US" altLang="ko-KR" sz="1000" b="0" dirty="0" smtClean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92696" y="2160673"/>
            <a:ext cx="136736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※ </a:t>
            </a:r>
            <a:r>
              <a:rPr lang="ko-KR" altLang="en-US" sz="1000" b="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본인 해당사항에 ○표시</a:t>
            </a:r>
            <a:endParaRPr lang="en-US" altLang="ko-KR" sz="1000" b="0" dirty="0" smtClean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979491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직사각형 24"/>
          <p:cNvSpPr/>
          <p:nvPr/>
        </p:nvSpPr>
        <p:spPr>
          <a:xfrm>
            <a:off x="222548" y="890960"/>
            <a:ext cx="6408712" cy="871296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87363" y="1352600"/>
            <a:ext cx="5886227" cy="60324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아래 내용으로 재경지역 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KTX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용에 대해 품의 드리오니 검토 후 재가 </a:t>
            </a:r>
            <a:r>
              <a:rPr lang="ko-KR" altLang="en-US" sz="1400" dirty="0" err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요청드립니다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endParaRPr lang="ko-KR" altLang="en-US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======================================================</a:t>
            </a:r>
          </a:p>
          <a:p>
            <a:endParaRPr lang="en-US" altLang="ko-KR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.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지원 구분 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/>
              </a:rPr>
              <a:t>신입사원 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/>
              </a:rPr>
              <a:t>( O )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/>
              </a:rPr>
              <a:t>        단신부임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/>
              </a:rPr>
              <a:t>(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/>
              </a:rPr>
              <a:t>재경→창원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/>
              </a:rPr>
              <a:t>)  (   )</a:t>
            </a:r>
            <a:endParaRPr lang="ko-KR" altLang="en-US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.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입사발령일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동발령일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 2022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년 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2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월 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0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endParaRPr lang="en-US" altLang="ko-KR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.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목적 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재경지역 연고자 자택 방문</a:t>
            </a:r>
          </a:p>
          <a:p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.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소속 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에어솔루션사업부 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AC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어개발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팀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endParaRPr lang="en-US" altLang="ko-KR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5.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성명 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김동현</a:t>
            </a:r>
          </a:p>
          <a:p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endParaRPr lang="ko-KR" altLang="en-US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6. </a:t>
            </a:r>
            <a:r>
              <a:rPr lang="ko-KR" altLang="en-US" sz="1400" dirty="0" err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번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15309</a:t>
            </a:r>
            <a:endParaRPr lang="ko-KR" altLang="en-US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endParaRPr lang="en-US" altLang="ko-KR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7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용내역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-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귀경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023/03/03(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금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요일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(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창원중앙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8:15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→ 서울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1:03 _ 51,700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원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  <a:p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-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귀사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023/03/05(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요일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(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서울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3:40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→ 창원중앙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6:27 _ 51,700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원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  <a:p>
            <a:endParaRPr lang="en-US" altLang="ko-KR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-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귀경 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023/02/24(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금요일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(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창원중앙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8:15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→ 서울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1:03 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_ 51,700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원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  <a:p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-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귀사 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023/02/26(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요일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(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서울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8:05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→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창원중앙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0:58 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_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51,700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원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833993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IwgUzPxU.q9w1.ZOLk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IwgUzPxU.q9w1.ZOLkfQ"/>
</p:tagLst>
</file>

<file path=ppt/theme/theme1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디자인 사용자 지정">
  <a:themeElements>
    <a:clrScheme name="1_디자인 사용자 지정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_디자인 사용자 지정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디자인 사용자 지정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4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5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6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0052</TotalTime>
  <Words>494</Words>
  <Application>Microsoft Office PowerPoint</Application>
  <PresentationFormat>A4 용지(210x297mm)</PresentationFormat>
  <Paragraphs>87</Paragraphs>
  <Slides>3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7</vt:i4>
      </vt:variant>
      <vt:variant>
        <vt:lpstr>슬라이드 제목</vt:lpstr>
      </vt:variant>
      <vt:variant>
        <vt:i4>3</vt:i4>
      </vt:variant>
    </vt:vector>
  </HeadingPairs>
  <TitlesOfParts>
    <vt:vector size="15" baseType="lpstr">
      <vt:lpstr>LG스마트체 Regular</vt:lpstr>
      <vt:lpstr>굴림</vt:lpstr>
      <vt:lpstr>맑은 고딕</vt:lpstr>
      <vt:lpstr>Arial</vt:lpstr>
      <vt:lpstr>Wingdings</vt:lpstr>
      <vt:lpstr>디자인 사용자 지정</vt:lpstr>
      <vt:lpstr>1_디자인 사용자 지정</vt:lpstr>
      <vt:lpstr>2_디자인 사용자 지정</vt:lpstr>
      <vt:lpstr>3_디자인 사용자 지정</vt:lpstr>
      <vt:lpstr>4_디자인 사용자 지정</vt:lpstr>
      <vt:lpstr>5_디자인 사용자 지정</vt:lpstr>
      <vt:lpstr>6_디자인 사용자 지정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김진훈/대리/채용팀</dc:creator>
  <cp:lastModifiedBy>김동현/연구원/에어솔루션제어연구담당(donghyeon.kim@lge.com)</cp:lastModifiedBy>
  <cp:revision>3658</cp:revision>
  <cp:lastPrinted>2014-05-19T08:39:50Z</cp:lastPrinted>
  <dcterms:created xsi:type="dcterms:W3CDTF">2008-11-26T05:44:28Z</dcterms:created>
  <dcterms:modified xsi:type="dcterms:W3CDTF">2023-03-03T00:45:16Z</dcterms:modified>
</cp:coreProperties>
</file>